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8"/>
  </p:notesMasterIdLst>
  <p:handoutMasterIdLst>
    <p:handoutMasterId r:id="rId19"/>
  </p:handoutMasterIdLst>
  <p:sldIdLst>
    <p:sldId id="470" r:id="rId5"/>
    <p:sldId id="524" r:id="rId6"/>
    <p:sldId id="530" r:id="rId7"/>
    <p:sldId id="545" r:id="rId8"/>
    <p:sldId id="541" r:id="rId9"/>
    <p:sldId id="546" r:id="rId10"/>
    <p:sldId id="547" r:id="rId11"/>
    <p:sldId id="548" r:id="rId12"/>
    <p:sldId id="549" r:id="rId13"/>
    <p:sldId id="551" r:id="rId14"/>
    <p:sldId id="552" r:id="rId15"/>
    <p:sldId id="550" r:id="rId16"/>
    <p:sldId id="444" r:id="rId17"/>
  </p:sldIdLst>
  <p:sldSz cx="8961438" cy="6721475"/>
  <p:notesSz cx="6743700" cy="99060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960" autoAdjust="0"/>
    <p:restoredTop sz="94906" autoAdjust="0"/>
  </p:normalViewPr>
  <p:slideViewPr>
    <p:cSldViewPr snapToGrid="0" snapToObjects="1">
      <p:cViewPr varScale="1">
        <p:scale>
          <a:sx n="121" d="100"/>
          <a:sy n="121" d="100"/>
        </p:scale>
        <p:origin x="536" y="160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374426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1226014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45867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32676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233385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670426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6853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3394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NUL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8.xml"/><Relationship Id="rId21" Type="http://schemas.openxmlformats.org/officeDocument/2006/relationships/tags" Target="../tags/tag9.xml"/><Relationship Id="rId22" Type="http://schemas.openxmlformats.org/officeDocument/2006/relationships/tags" Target="../tags/tag10.xml"/><Relationship Id="rId23" Type="http://schemas.openxmlformats.org/officeDocument/2006/relationships/tags" Target="../tags/tag11.xml"/><Relationship Id="rId24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6" Type="http://schemas.openxmlformats.org/officeDocument/2006/relationships/image" Target="NULL"/><Relationship Id="rId27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tags" Target="../tags/tag4.xml"/><Relationship Id="rId17" Type="http://schemas.openxmlformats.org/officeDocument/2006/relationships/tags" Target="../tags/tag5.xml"/><Relationship Id="rId18" Type="http://schemas.openxmlformats.org/officeDocument/2006/relationships/tags" Target="../tags/tag6.x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png"/><Relationship Id="rId7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11.vml"/><Relationship Id="rId2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12.vml"/><Relationship Id="rId2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5.bin"/><Relationship Id="rId6" Type="http://schemas.openxmlformats.org/officeDocument/2006/relationships/hyperlink" Target="http://redux.js.org/" TargetMode="External"/><Relationship Id="rId7" Type="http://schemas.openxmlformats.org/officeDocument/2006/relationships/hyperlink" Target="https://www.youtube.com/watch?v=UEcdQR-NoNA" TargetMode="External"/><Relationship Id="rId8" Type="http://schemas.openxmlformats.org/officeDocument/2006/relationships/hyperlink" Target="https://julienrenaux.fr/2016/08/03/introduction-to-redux-and-angular2/" TargetMode="External"/><Relationship Id="rId9" Type="http://schemas.openxmlformats.org/officeDocument/2006/relationships/hyperlink" Target="https://github.com/ngrx/store" TargetMode="External"/><Relationship Id="rId10" Type="http://schemas.openxmlformats.org/officeDocument/2006/relationships/hyperlink" Target="https://github.com/angular-redux/store" TargetMode="External"/><Relationship Id="rId11" Type="http://schemas.openxmlformats.org/officeDocument/2006/relationships/image" Target="../media/image2.png"/><Relationship Id="rId1" Type="http://schemas.openxmlformats.org/officeDocument/2006/relationships/vmlDrawing" Target="../drawings/vmlDrawing14.vml"/><Relationship Id="rId2" Type="http://schemas.openxmlformats.org/officeDocument/2006/relationships/tags" Target="../tags/tag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png"/><Relationship Id="rId7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7.v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8.vml"/><Relationship Id="rId2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9.vml"/><Relationship Id="rId2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png"/><Relationship Id="rId1" Type="http://schemas.openxmlformats.org/officeDocument/2006/relationships/vmlDrawing" Target="../drawings/vmlDrawing10.vml"/><Relationship Id="rId2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2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gular-cli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1467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-cli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test version</a:t>
            </a:r>
          </a:p>
          <a:p>
            <a:pPr>
              <a:lnSpc>
                <a:spcPct val="150000"/>
              </a:lnSpc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ckage.jso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onfirm angular 2.3.1 or higher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redux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016024"/>
            <a:ext cx="8631056" cy="1785104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adding redux to an angular-cli project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&gt; ng --version (should be beta 26 or higher)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&gt;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pm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install redux --save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&gt;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pm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install ng2-redux --save</a:t>
            </a:r>
          </a:p>
          <a:p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400" dirty="0">
                <a:solidFill>
                  <a:srgbClr val="00AB72"/>
                </a:solidFill>
                <a:latin typeface="Source Code Pro"/>
              </a:rPr>
              <a:t>// run the project and confirm it runs without errors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&gt; ng serve   (open http://localhost:4200)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55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reate the Stor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1467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o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tains the State</a:t>
            </a:r>
          </a:p>
          <a:p>
            <a:pPr>
              <a:lnSpc>
                <a:spcPct val="150000"/>
              </a:lnSpc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AppSt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terface representing the “shape” of our store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ootReduc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The “main” reducer in our application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016024"/>
            <a:ext cx="8631056" cy="1785104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app.store.ts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export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interfac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IAppStor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{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</a:p>
          <a:p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export function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rootReducer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state, action)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return state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59219" y="3871095"/>
            <a:ext cx="8631056" cy="2277547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app.module.ts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import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{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,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Modul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} from ‘ng2-redux’;</a:t>
            </a:r>
          </a:p>
          <a:p>
            <a:r>
              <a:rPr lang="en-US" sz="1600" b="1" dirty="0">
                <a:latin typeface="Courier New" charset="0"/>
                <a:ea typeface="Courier New" charset="0"/>
                <a:cs typeface="Courier New" charset="0"/>
              </a:rPr>
              <a:t>import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{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IApp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,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rootReducer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} 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from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‘./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app.stor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’;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@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Module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imports: {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Modul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... }</a:t>
            </a:r>
          </a:p>
          <a:p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c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onstructor (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: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&lt;</a:t>
            </a:r>
            <a:r>
              <a:rPr lang="en-US" sz="1600" b="1" dirty="0" err="1" smtClean="0">
                <a:latin typeface="Courier New" charset="0"/>
                <a:ea typeface="Courier New" charset="0"/>
                <a:cs typeface="Courier New" charset="0"/>
              </a:rPr>
              <a:t>IAppState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)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ngRedux.configureStor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rootReducer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, {});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489007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7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e the Stor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ispatch and Action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aise an Action to the Store Reducer to change state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343369"/>
            <a:ext cx="8631056" cy="2893100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app.component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.ts</a:t>
            </a:r>
            <a:endParaRPr lang="en-US" sz="1400" dirty="0" smtClean="0">
              <a:solidFill>
                <a:srgbClr val="00AB72"/>
              </a:solidFill>
              <a:latin typeface="Source Code Pro"/>
            </a:endParaRPr>
          </a:p>
          <a:p>
            <a:r>
              <a:rPr lang="en-US" sz="1400" b="1" dirty="0" smtClean="0">
                <a:latin typeface="Courier New" charset="0"/>
                <a:ea typeface="Courier New" charset="0"/>
                <a:cs typeface="Courier New" charset="0"/>
              </a:rPr>
              <a:t>import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{ </a:t>
            </a:r>
            <a:r>
              <a:rPr lang="en-US" sz="1400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} from ‘ng2-redux’;</a:t>
            </a:r>
          </a:p>
          <a:p>
            <a:r>
              <a:rPr lang="en-US" sz="1400" b="1" dirty="0">
                <a:latin typeface="Courier New" charset="0"/>
                <a:ea typeface="Courier New" charset="0"/>
                <a:cs typeface="Courier New" charset="0"/>
              </a:rPr>
              <a:t>import</a:t>
            </a:r>
            <a:r>
              <a:rPr lang="en-US" sz="1400" dirty="0">
                <a:latin typeface="Courier New" charset="0"/>
                <a:ea typeface="Courier New" charset="0"/>
                <a:cs typeface="Courier New" charset="0"/>
              </a:rPr>
              <a:t> { </a:t>
            </a:r>
            <a:r>
              <a:rPr lang="en-US" sz="1400" dirty="0" err="1" smtClean="0">
                <a:latin typeface="Courier New" charset="0"/>
                <a:ea typeface="Courier New" charset="0"/>
                <a:cs typeface="Courier New" charset="0"/>
              </a:rPr>
              <a:t>IAppState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} </a:t>
            </a:r>
            <a:r>
              <a:rPr lang="en-US" sz="1400" dirty="0">
                <a:latin typeface="Courier New" charset="0"/>
                <a:ea typeface="Courier New" charset="0"/>
                <a:cs typeface="Courier New" charset="0"/>
              </a:rPr>
              <a:t>from 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‘./</a:t>
            </a:r>
            <a:r>
              <a:rPr lang="en-US" sz="1400" dirty="0" err="1" smtClean="0">
                <a:latin typeface="Courier New" charset="0"/>
                <a:ea typeface="Courier New" charset="0"/>
                <a:cs typeface="Courier New" charset="0"/>
              </a:rPr>
              <a:t>app.store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’;</a:t>
            </a:r>
          </a:p>
          <a:p>
            <a:endParaRPr lang="en-US" sz="14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constructor(</a:t>
            </a:r>
            <a:r>
              <a:rPr lang="en-US" sz="1400" b="1" dirty="0" smtClean="0">
                <a:latin typeface="Courier New" charset="0"/>
                <a:ea typeface="Courier New" charset="0"/>
                <a:cs typeface="Courier New" charset="0"/>
              </a:rPr>
              <a:t>private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400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: </a:t>
            </a:r>
            <a:r>
              <a:rPr lang="en-US" sz="1400" b="1" dirty="0" err="1" smtClean="0">
                <a:latin typeface="Courier New" charset="0"/>
                <a:ea typeface="Courier New" charset="0"/>
                <a:cs typeface="Courier New" charset="0"/>
              </a:rPr>
              <a:t>NgRedux</a:t>
            </a:r>
            <a:r>
              <a:rPr lang="en-US" sz="1400" b="1" dirty="0" smtClean="0">
                <a:latin typeface="Courier New" charset="0"/>
                <a:ea typeface="Courier New" charset="0"/>
                <a:cs typeface="Courier New" charset="0"/>
              </a:rPr>
              <a:t>&lt;</a:t>
            </a:r>
            <a:r>
              <a:rPr lang="en-US" sz="1400" b="1" dirty="0" err="1" smtClean="0">
                <a:latin typeface="Courier New" charset="0"/>
                <a:ea typeface="Courier New" charset="0"/>
                <a:cs typeface="Courier New" charset="0"/>
              </a:rPr>
              <a:t>IAppState</a:t>
            </a:r>
            <a:r>
              <a:rPr lang="en-US" sz="1400" b="1" dirty="0" smtClean="0">
                <a:latin typeface="Courier New" charset="0"/>
                <a:ea typeface="Courier New" charset="0"/>
                <a:cs typeface="Courier New" charset="0"/>
              </a:rPr>
              <a:t>&gt;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){</a:t>
            </a:r>
          </a:p>
          <a:p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   </a:t>
            </a:r>
          </a:p>
          <a:p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</a:p>
          <a:p>
            <a:endParaRPr lang="en-US" sz="14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Add(){</a:t>
            </a:r>
          </a:p>
          <a:p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400" dirty="0" err="1" smtClean="0">
                <a:latin typeface="Courier New" charset="0"/>
                <a:ea typeface="Courier New" charset="0"/>
                <a:cs typeface="Courier New" charset="0"/>
              </a:rPr>
              <a:t>this.ngRedux.dispatch</a:t>
            </a:r>
            <a:r>
              <a:rPr lang="en-US" sz="1400" dirty="0" smtClean="0">
                <a:latin typeface="Courier New" charset="0"/>
                <a:ea typeface="Courier New" charset="0"/>
                <a:cs typeface="Courier New" charset="0"/>
              </a:rPr>
              <a:t>({ type: ‘ADD’ });</a:t>
            </a:r>
          </a:p>
          <a:p>
            <a:r>
              <a:rPr lang="en-US" sz="1400" dirty="0">
                <a:latin typeface="Courier New" charset="0"/>
                <a:ea typeface="Courier New" charset="0"/>
                <a:cs typeface="Courier New" charset="0"/>
              </a:rPr>
              <a:t>}</a:t>
            </a:r>
          </a:p>
          <a:p>
            <a:endParaRPr lang="en-US" sz="1400" dirty="0">
              <a:latin typeface="Courier New" charset="0"/>
              <a:ea typeface="Courier New" charset="0"/>
              <a:cs typeface="Courier New" charset="0"/>
            </a:endParaRPr>
          </a:p>
          <a:p>
            <a:endParaRPr lang="en-US" sz="1400" dirty="0">
              <a:solidFill>
                <a:srgbClr val="00AB72"/>
              </a:solidFill>
              <a:latin typeface="Source Code Pro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653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dux website - </a:t>
            </a:r>
            <a:r>
              <a:rPr lang="en-US" sz="1600" dirty="0">
                <a:hlinkClick r:id="rId6"/>
              </a:rPr>
              <a:t>http://redux.js.org</a:t>
            </a:r>
            <a:r>
              <a:rPr lang="en-US" sz="1600" dirty="0" smtClean="0">
                <a:hlinkClick r:id="rId6"/>
              </a:rPr>
              <a:t>/</a:t>
            </a:r>
            <a:endParaRPr lang="en-US" sz="1600" dirty="0" smtClean="0"/>
          </a:p>
          <a:p>
            <a:endParaRPr lang="en-US" sz="1600" dirty="0"/>
          </a:p>
          <a:p>
            <a:r>
              <a:rPr lang="en-US" sz="1600" dirty="0" smtClean="0"/>
              <a:t>Tuto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g2-redux + Angular-cli: tutorial - </a:t>
            </a:r>
            <a:r>
              <a:rPr lang="en-US" sz="1600" dirty="0">
                <a:hlinkClick r:id="rId7"/>
              </a:rPr>
              <a:t>https://</a:t>
            </a:r>
            <a:r>
              <a:rPr lang="en-US" sz="1600" dirty="0" smtClean="0">
                <a:hlinkClick r:id="rId7"/>
              </a:rPr>
              <a:t>www.youtube.com/watch?v=UEcdQR-NoNA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dux and angular2: </a:t>
            </a:r>
            <a:r>
              <a:rPr lang="en-US" sz="1600" dirty="0">
                <a:hlinkClick r:id="rId8"/>
              </a:rPr>
              <a:t>https://julienrenaux.fr/2016/08/03/introduction-to-redux-and-angular2</a:t>
            </a:r>
            <a:r>
              <a:rPr lang="en-US" sz="1600" dirty="0" smtClean="0">
                <a:hlinkClick r:id="rId8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Ngrx</a:t>
            </a:r>
            <a:r>
              <a:rPr lang="en-US" sz="1600" dirty="0"/>
              <a:t> - </a:t>
            </a:r>
            <a:r>
              <a:rPr lang="en-US" sz="1600" dirty="0">
                <a:hlinkClick r:id="rId9"/>
              </a:rPr>
              <a:t>https://</a:t>
            </a:r>
            <a:r>
              <a:rPr lang="en-US" sz="1600" dirty="0" smtClean="0">
                <a:hlinkClick r:id="rId9"/>
              </a:rPr>
              <a:t>github.com/ngrx/stor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g2-redux - </a:t>
            </a: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github.com/angular-redux/stor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lvl="1"/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 - Redux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4216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Data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Data Design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Angular2 is flexible, allowing different Data Design Patterns</a:t>
            </a:r>
            <a:br>
              <a:rPr lang="en-US" sz="1800" dirty="0" smtClean="0"/>
            </a:br>
            <a:endParaRPr lang="en-US" sz="1800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Data Design Patterns:</a:t>
            </a:r>
            <a:br>
              <a:rPr lang="en-US" sz="1800" dirty="0" smtClean="0"/>
            </a:br>
            <a:endParaRPr lang="en-US" sz="1800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Binding (one, two-way</a:t>
            </a:r>
            <a:r>
              <a:rPr lang="mr-IN" sz="1800" dirty="0" smtClean="0"/>
              <a:t>…</a:t>
            </a:r>
            <a:r>
              <a:rPr lang="en-US" sz="1800" dirty="0" smtClean="0"/>
              <a:t>) </a:t>
            </a:r>
            <a:r>
              <a:rPr lang="mr-IN" sz="1800" dirty="0" smtClean="0"/>
              <a:t>–</a:t>
            </a:r>
            <a:r>
              <a:rPr lang="en-US" sz="1800" dirty="0" smtClean="0"/>
              <a:t> Known as </a:t>
            </a:r>
            <a:r>
              <a:rPr lang="en-US" sz="1800" b="1" dirty="0" smtClean="0"/>
              <a:t>MVW</a:t>
            </a:r>
            <a:r>
              <a:rPr lang="en-US" sz="1800" dirty="0" smtClean="0"/>
              <a:t> (common with Angular 1)</a:t>
            </a:r>
            <a:endParaRPr lang="en-US" sz="1800" b="1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Streams of Events </a:t>
            </a:r>
            <a:r>
              <a:rPr lang="mr-IN" sz="1800" dirty="0" smtClean="0"/>
              <a:t>–</a:t>
            </a:r>
            <a:r>
              <a:rPr lang="en-US" sz="1800" dirty="0" smtClean="0"/>
              <a:t> known as </a:t>
            </a:r>
            <a:r>
              <a:rPr lang="en-US" sz="1800" b="1" dirty="0" smtClean="0"/>
              <a:t>Observables</a:t>
            </a:r>
            <a:r>
              <a:rPr lang="en-US" sz="1800" dirty="0" smtClean="0"/>
              <a:t> (</a:t>
            </a:r>
            <a:r>
              <a:rPr lang="en-US" sz="1800" dirty="0" err="1" smtClean="0"/>
              <a:t>rxjs</a:t>
            </a:r>
            <a:r>
              <a:rPr lang="mr-IN" sz="1800" dirty="0" smtClean="0"/>
              <a:t>…</a:t>
            </a:r>
            <a:r>
              <a:rPr lang="en-US" sz="1800" dirty="0" smtClean="0"/>
              <a:t>)</a:t>
            </a:r>
            <a:endParaRPr lang="en-US" sz="1800" b="1" dirty="0" smtClean="0"/>
          </a:p>
          <a:p>
            <a:pPr marL="1200150" lvl="2" indent="-285750">
              <a:buFont typeface="Arial" charset="0"/>
              <a:buChar char="•"/>
            </a:pPr>
            <a:r>
              <a:rPr lang="en-US" sz="1800" dirty="0" smtClean="0"/>
              <a:t>Unidirectional Data Flow </a:t>
            </a:r>
            <a:r>
              <a:rPr lang="mr-IN" sz="1800" dirty="0" smtClean="0"/>
              <a:t>–</a:t>
            </a:r>
            <a:r>
              <a:rPr lang="en-US" sz="1800" dirty="0" smtClean="0"/>
              <a:t> know as </a:t>
            </a:r>
            <a:r>
              <a:rPr lang="en-US" sz="1800" b="1" dirty="0" smtClean="0"/>
              <a:t>Redux</a:t>
            </a:r>
            <a:r>
              <a:rPr lang="en-US" sz="1800" dirty="0" smtClean="0"/>
              <a:t> (Made popular by </a:t>
            </a:r>
            <a:r>
              <a:rPr lang="en-US" sz="1800" dirty="0" err="1" smtClean="0"/>
              <a:t>ReactJS</a:t>
            </a:r>
            <a:r>
              <a:rPr lang="en-US" sz="1800" dirty="0" smtClean="0"/>
              <a:t>)</a:t>
            </a:r>
            <a:endParaRPr lang="en-US" sz="1800" b="1" dirty="0" smtClean="0"/>
          </a:p>
          <a:p>
            <a:pPr marL="742950" lvl="1" indent="-285750">
              <a:buFont typeface="Arial" charset="0"/>
              <a:buChar char="•"/>
            </a:pPr>
            <a:endParaRPr lang="en-US" sz="18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755704"/>
              </p:ext>
            </p:extLst>
          </p:nvPr>
        </p:nvGraphicFramePr>
        <p:xfrm>
          <a:off x="158750" y="3414962"/>
          <a:ext cx="8627898" cy="16560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875966"/>
                <a:gridCol w="2875966"/>
                <a:gridCol w="287596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V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bservabl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dux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ind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active</a:t>
                      </a:r>
                      <a:r>
                        <a:rPr lang="en-US" baseline="0" dirty="0" smtClean="0"/>
                        <a:t> Programm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Unidirectional data flow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One/two-way binding</a:t>
                      </a:r>
                    </a:p>
                    <a:p>
                      <a:pPr algn="ctr"/>
                      <a:r>
                        <a:rPr lang="en-US" baseline="0" dirty="0" smtClean="0"/>
                        <a:t>Shared </a:t>
                      </a:r>
                      <a:r>
                        <a:rPr lang="en-US" baseline="0" dirty="0" smtClean="0"/>
                        <a:t>Data</a:t>
                      </a:r>
                    </a:p>
                    <a:p>
                      <a:pPr algn="ctr"/>
                      <a:r>
                        <a:rPr lang="en-US" baseline="0" dirty="0" smtClean="0"/>
                        <a:t>Changes can affect othe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reams</a:t>
                      </a:r>
                      <a:r>
                        <a:rPr lang="en-US" baseline="0" dirty="0" smtClean="0"/>
                        <a:t> of Events</a:t>
                      </a:r>
                    </a:p>
                    <a:p>
                      <a:pPr algn="ctr"/>
                      <a:r>
                        <a:rPr lang="en-US" baseline="0" dirty="0" smtClean="0"/>
                        <a:t>Subscribe and react</a:t>
                      </a:r>
                    </a:p>
                    <a:p>
                      <a:pPr algn="ctr"/>
                      <a:r>
                        <a:rPr lang="en-US" baseline="0" dirty="0" smtClean="0"/>
                        <a:t>continuo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ore </a:t>
                      </a:r>
                      <a:r>
                        <a:rPr lang="en-US" dirty="0" smtClean="0"/>
                        <a:t>holds data</a:t>
                      </a:r>
                    </a:p>
                    <a:p>
                      <a:pPr algn="ctr"/>
                      <a:r>
                        <a:rPr lang="en-US" dirty="0" smtClean="0"/>
                        <a:t>Actions change data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Data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2 and Redux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800" u="sng" dirty="0" smtClean="0"/>
              <a:t>Benefits of Redux: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It’s simp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It combines immutable data and unidirectional data flow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Application State is easy to understand and manag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800" dirty="0" smtClean="0"/>
              <a:t>It’s small</a:t>
            </a:r>
            <a:endParaRPr lang="en-US" sz="1800" dirty="0" smtClean="0"/>
          </a:p>
          <a:p>
            <a:pPr marL="742950" lvl="1" indent="-285750">
              <a:buFont typeface="Arial" charset="0"/>
              <a:buChar char="•"/>
            </a:pPr>
            <a:endParaRPr lang="en-US" sz="180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22597"/>
              </p:ext>
            </p:extLst>
          </p:nvPr>
        </p:nvGraphicFramePr>
        <p:xfrm>
          <a:off x="158750" y="3414962"/>
          <a:ext cx="8627898" cy="17526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875966"/>
                <a:gridCol w="2875966"/>
                <a:gridCol w="287596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o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tio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ducer(s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dirty="0" smtClean="0"/>
                        <a:t>Application st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hange</a:t>
                      </a:r>
                      <a:r>
                        <a:rPr lang="en-US" baseline="0" dirty="0" smtClean="0"/>
                        <a:t> St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eturn a new State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dirty="0" smtClean="0"/>
                        <a:t>App</a:t>
                      </a:r>
                      <a:r>
                        <a:rPr lang="en-US" baseline="0" dirty="0" smtClean="0"/>
                        <a:t> reads </a:t>
                      </a:r>
                      <a:r>
                        <a:rPr lang="en-US" b="1" baseline="0" dirty="0" smtClean="0"/>
                        <a:t>state</a:t>
                      </a:r>
                      <a:r>
                        <a:rPr lang="en-US" baseline="0" dirty="0" smtClean="0"/>
                        <a:t> from </a:t>
                      </a:r>
                      <a:r>
                        <a:rPr lang="en-US" b="1" baseline="0" dirty="0" smtClean="0"/>
                        <a:t>stor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User</a:t>
                      </a:r>
                      <a:r>
                        <a:rPr lang="en-US" baseline="0" dirty="0" smtClean="0"/>
                        <a:t> events fire </a:t>
                      </a:r>
                      <a:r>
                        <a:rPr lang="en-US" b="1" baseline="0" dirty="0" smtClean="0"/>
                        <a:t>Action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ew state = old state + action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dirty="0" smtClean="0"/>
                        <a:t>Store is </a:t>
                      </a:r>
                      <a:r>
                        <a:rPr lang="en-US" b="1" dirty="0" smtClean="0"/>
                        <a:t>never</a:t>
                      </a:r>
                      <a:r>
                        <a:rPr lang="en-US" dirty="0" smtClean="0"/>
                        <a:t> </a:t>
                      </a:r>
                      <a:r>
                        <a:rPr lang="en-US" b="1" dirty="0" smtClean="0"/>
                        <a:t>mutated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ystem events fire </a:t>
                      </a:r>
                      <a:r>
                        <a:rPr lang="en-US" b="0" dirty="0" smtClean="0"/>
                        <a:t>Actions</a:t>
                      </a:r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53500" y="268028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Parts: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808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hat are Reducers?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1045892"/>
            <a:ext cx="86310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ucer 		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[New State] = [Current State] + [Action]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ure Functio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	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must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 mutat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current state, must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 use external data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		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am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put = same output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	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	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 data, http or mutating any external data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150000"/>
              </a:lnSpc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ducer and Action Interface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67218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tion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terfac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280296"/>
            <a:ext cx="8631056" cy="1292662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action.interface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.ts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interfac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Action {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type: string;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payload?: any;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59219" y="2774843"/>
            <a:ext cx="8631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ucer </a:t>
            </a:r>
            <a:r>
              <a:rPr lang="mr-IN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terfac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9219" y="3187921"/>
            <a:ext cx="8631056" cy="2492990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reducer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.interface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.ts</a:t>
            </a:r>
            <a:endParaRPr lang="en-US" sz="1400" dirty="0" smtClean="0">
              <a:solidFill>
                <a:srgbClr val="00AB72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&lt;T&gt; uses Generics </a:t>
            </a:r>
            <a:r>
              <a:rPr lang="mr-IN" sz="1400" dirty="0" smtClean="0">
                <a:solidFill>
                  <a:srgbClr val="00AB72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 T is the type of state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interfac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Reducer&lt;T&gt; {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(state: T, action: Action): T;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</a:p>
          <a:p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600" dirty="0" smtClean="0">
                <a:solidFill>
                  <a:srgbClr val="00AB72"/>
                </a:solidFill>
                <a:latin typeface="Source Code Pro"/>
              </a:rPr>
              <a:t>by default </a:t>
            </a:r>
            <a:r>
              <a:rPr lang="mr-IN" sz="1600" dirty="0" smtClean="0">
                <a:solidFill>
                  <a:srgbClr val="00AB72"/>
                </a:solidFill>
                <a:latin typeface="Source Code Pro"/>
              </a:rPr>
              <a:t>–</a:t>
            </a:r>
            <a:r>
              <a:rPr lang="en-US" sz="1600" dirty="0" smtClean="0">
                <a:solidFill>
                  <a:srgbClr val="00AB72"/>
                </a:solidFill>
                <a:latin typeface="Source Code Pro"/>
              </a:rPr>
              <a:t> reducers must return the current state.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let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reducer: Reducer&lt;number&gt; = (state: T, action: Action) =&gt; {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return state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45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ducer switch construc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uc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re usually written using the SWITCH construct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343369"/>
            <a:ext cx="8631056" cy="2769989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reducer.ts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>
                <a:latin typeface="Courier New" charset="0"/>
                <a:ea typeface="Courier New" charset="0"/>
                <a:cs typeface="Courier New" charset="0"/>
              </a:rPr>
              <a:t>let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reducer: Reducer&lt;number&gt; = (state: T, action: Action) =&gt; 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switch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(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action.typ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)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case ‘INCREASE’: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 return state + 1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case ‘DECREASE’: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return state </a:t>
            </a:r>
            <a:r>
              <a:rPr lang="mr-IN" sz="1600" dirty="0" smtClean="0">
                <a:latin typeface="Courier New" charset="0"/>
                <a:ea typeface="Courier New" charset="0"/>
                <a:cs typeface="Courier New" charset="0"/>
              </a:rPr>
              <a:t>–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1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default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 return state; </a:t>
            </a:r>
            <a:r>
              <a:rPr lang="en-US" sz="1600" dirty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600" dirty="0" smtClean="0">
                <a:solidFill>
                  <a:srgbClr val="00AB72"/>
                </a:solidFill>
                <a:latin typeface="Source Code Pro"/>
              </a:rPr>
              <a:t>default reducer returns current state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}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59219" y="4130669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ts call our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duc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ith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tion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9215" y="4512229"/>
            <a:ext cx="8631056" cy="584775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let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increaseAction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: Action = { type: ‘INCREASE’ };</a:t>
            </a:r>
          </a:p>
          <a:p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console.log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reducer(0,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increaseAction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)); </a:t>
            </a:r>
            <a:r>
              <a:rPr lang="en-US" sz="1600" dirty="0">
                <a:solidFill>
                  <a:srgbClr val="00AB72"/>
                </a:solidFill>
                <a:latin typeface="Source Code Pro"/>
              </a:rPr>
              <a:t>// output: 1</a:t>
            </a:r>
            <a:endParaRPr lang="en-US" sz="1600" dirty="0">
              <a:solidFill>
                <a:srgbClr val="00AB72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6498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ctions with arguments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77732"/>
            <a:ext cx="8631056" cy="41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tions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ften require arguments (a payload) to describe how to change the state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1343369"/>
            <a:ext cx="8631056" cy="2769989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reducer.ts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>
                <a:latin typeface="Courier New" charset="0"/>
                <a:ea typeface="Courier New" charset="0"/>
                <a:cs typeface="Courier New" charset="0"/>
              </a:rPr>
              <a:t>let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reducer: Reducer&lt;number&gt; = (state: T, action: Action) =&gt; 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switch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(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action.typ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)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...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case ‘ADD’: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 return state + </a:t>
            </a:r>
            <a:r>
              <a:rPr lang="en-US" sz="1600" b="1" dirty="0" err="1" smtClean="0">
                <a:latin typeface="Courier New" charset="0"/>
                <a:ea typeface="Courier New" charset="0"/>
                <a:cs typeface="Courier New" charset="0"/>
              </a:rPr>
              <a:t>action.payload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...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default</a:t>
            </a: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 return state; </a:t>
            </a:r>
            <a:r>
              <a:rPr lang="en-US" sz="1600" dirty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600" dirty="0" smtClean="0">
                <a:solidFill>
                  <a:srgbClr val="00AB72"/>
                </a:solidFill>
                <a:latin typeface="Source Code Pro"/>
              </a:rPr>
              <a:t>default reducer returns current state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}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59219" y="4130669"/>
            <a:ext cx="8631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ts call our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ction with Argument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9215" y="4512229"/>
            <a:ext cx="8631056" cy="338554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console.log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reducer(0, </a:t>
            </a:r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{ type: ‘ADD’, payload: 5 }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)); </a:t>
            </a:r>
            <a:r>
              <a:rPr lang="en-US" sz="1600" dirty="0">
                <a:solidFill>
                  <a:srgbClr val="00AB72"/>
                </a:solidFill>
                <a:latin typeface="Source Code Pro"/>
              </a:rPr>
              <a:t>// output: </a:t>
            </a:r>
            <a:r>
              <a:rPr lang="en-US" sz="1600" dirty="0" smtClean="0">
                <a:solidFill>
                  <a:srgbClr val="00AB72"/>
                </a:solidFill>
                <a:latin typeface="Source Code Pro"/>
              </a:rPr>
              <a:t>5</a:t>
            </a:r>
            <a:endParaRPr lang="en-US" sz="1600" dirty="0">
              <a:solidFill>
                <a:srgbClr val="00AB72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141543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Data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dux </a:t>
            </a:r>
            <a:r>
              <a:rPr lang="mr-IN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Store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3959" y="814672"/>
            <a:ext cx="8631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o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ust hold and protect our state, run reducers and keep the new states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ore must be tied to a specific Reducer</a:t>
            </a:r>
          </a:p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ispatching Actions does NOT return values</a:t>
            </a:r>
            <a:endParaRPr lang="en-US" sz="1600" b="1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3959" y="2016024"/>
            <a:ext cx="8631056" cy="4247317"/>
          </a:xfrm>
          <a:prstGeom prst="rect">
            <a:avLst/>
          </a:prstGeom>
          <a:noFill/>
          <a:ln w="15875" cmpd="dbl">
            <a:solidFill>
              <a:srgbClr val="00AB72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00AB72"/>
                </a:solidFill>
                <a:latin typeface="Source Code Pro"/>
              </a:rPr>
              <a:t>store.ts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 </a:t>
            </a:r>
            <a:r>
              <a:rPr lang="mr-IN" sz="1400" dirty="0" smtClean="0">
                <a:solidFill>
                  <a:srgbClr val="00AB72"/>
                </a:solidFill>
                <a:latin typeface="Source Code Pro"/>
              </a:rPr>
              <a:t>–</a:t>
            </a:r>
            <a:r>
              <a:rPr lang="en-US" sz="1400" dirty="0" smtClean="0">
                <a:solidFill>
                  <a:srgbClr val="00AB72"/>
                </a:solidFill>
                <a:latin typeface="Source Code Pro"/>
              </a:rPr>
              <a:t> using Generic Type &lt;T&gt;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class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Store&lt;T&gt; {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private _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: T;</a:t>
            </a:r>
          </a:p>
          <a:p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constructor(private reducer: Reducer&lt;T&gt;,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        state: T)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this._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= state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}</a:t>
            </a:r>
          </a:p>
          <a:p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600" b="1" dirty="0" err="1" smtClean="0">
                <a:latin typeface="Courier New" charset="0"/>
                <a:ea typeface="Courier New" charset="0"/>
                <a:cs typeface="Courier New" charset="0"/>
              </a:rPr>
              <a:t>get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):T 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return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this._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}</a:t>
            </a:r>
          </a:p>
          <a:p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</a:t>
            </a:r>
            <a:r>
              <a:rPr lang="en-US" sz="1600" b="1" dirty="0" smtClean="0">
                <a:latin typeface="Courier New" charset="0"/>
                <a:ea typeface="Courier New" charset="0"/>
                <a:cs typeface="Courier New" charset="0"/>
              </a:rPr>
              <a:t>dispatch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action: Action):void {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   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this._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= 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this.reducer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(</a:t>
            </a:r>
            <a:r>
              <a:rPr lang="en-US" sz="1600" dirty="0" err="1" smtClean="0">
                <a:latin typeface="Courier New" charset="0"/>
                <a:ea typeface="Courier New" charset="0"/>
                <a:cs typeface="Courier New" charset="0"/>
              </a:rPr>
              <a:t>this._state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, action);</a:t>
            </a: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 </a:t>
            </a:r>
            <a:r>
              <a:rPr lang="en-US" sz="1600" dirty="0" smtClean="0">
                <a:latin typeface="Courier New" charset="0"/>
                <a:ea typeface="Courier New" charset="0"/>
                <a:cs typeface="Courier New" charset="0"/>
              </a:rPr>
              <a:t>   }</a:t>
            </a:r>
            <a:endParaRPr lang="en-US" sz="1600" dirty="0">
              <a:latin typeface="Courier New" charset="0"/>
              <a:ea typeface="Courier New" charset="0"/>
              <a:cs typeface="Courier New" charset="0"/>
            </a:endParaRPr>
          </a:p>
          <a:p>
            <a:r>
              <a:rPr lang="en-US" sz="1600" dirty="0">
                <a:latin typeface="Courier New" charset="0"/>
                <a:ea typeface="Courier New" charset="0"/>
                <a:cs typeface="Courier New" charset="0"/>
              </a:rPr>
              <a:t>}</a:t>
            </a:r>
            <a:endParaRPr lang="en-US" sz="1600" dirty="0" smtClean="0">
              <a:latin typeface="Courier New" charset="0"/>
              <a:ea typeface="Courier New" charset="0"/>
              <a:cs typeface="Courier New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43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32</TotalTime>
  <Words>891</Words>
  <Application>Microsoft Macintosh PowerPoint</Application>
  <PresentationFormat>Custom</PresentationFormat>
  <Paragraphs>224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Bariol Regular</vt:lpstr>
      <vt:lpstr>Californian FB</vt:lpstr>
      <vt:lpstr>Courier New</vt:lpstr>
      <vt:lpstr>Georgia</vt:lpstr>
      <vt:lpstr>MS PGothic</vt:lpstr>
      <vt:lpstr>Open Sans</vt:lpstr>
      <vt:lpstr>Source Code Pro</vt:lpstr>
      <vt:lpstr>Arial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anthan Wax</cp:lastModifiedBy>
  <cp:revision>750</cp:revision>
  <cp:lastPrinted>2008-09-19T11:06:26Z</cp:lastPrinted>
  <dcterms:created xsi:type="dcterms:W3CDTF">2010-01-27T21:29:29Z</dcterms:created>
  <dcterms:modified xsi:type="dcterms:W3CDTF">2017-02-15T05:5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